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263" r:id="rId5"/>
    <p:sldId id="264" r:id="rId6"/>
    <p:sldId id="265" r:id="rId7"/>
  </p:sldIdLst>
  <p:sldSz cx="5145088" cy="5143500"/>
  <p:notesSz cx="6797675" cy="9926638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90" userDrawn="1">
          <p15:clr>
            <a:srgbClr val="A4A3A4"/>
          </p15:clr>
        </p15:guide>
        <p15:guide id="2" pos="160" userDrawn="1">
          <p15:clr>
            <a:srgbClr val="A4A3A4"/>
          </p15:clr>
        </p15:guide>
        <p15:guide id="3" pos="1589" userDrawn="1">
          <p15:clr>
            <a:srgbClr val="A4A3A4"/>
          </p15:clr>
        </p15:guide>
        <p15:guide id="4" pos="1652" userDrawn="1">
          <p15:clr>
            <a:srgbClr val="A4A3A4"/>
          </p15:clr>
        </p15:guide>
        <p15:guide id="6" orient="horz" pos="781" userDrawn="1">
          <p15:clr>
            <a:srgbClr val="A4A3A4"/>
          </p15:clr>
        </p15:guide>
        <p15:guide id="7" pos="308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55" autoAdjust="0"/>
    <p:restoredTop sz="94423" autoAdjust="0"/>
  </p:normalViewPr>
  <p:slideViewPr>
    <p:cSldViewPr snapToGrid="0" showGuides="1">
      <p:cViewPr>
        <p:scale>
          <a:sx n="192" d="100"/>
          <a:sy n="192" d="100"/>
        </p:scale>
        <p:origin x="2528" y="640"/>
      </p:cViewPr>
      <p:guideLst>
        <p:guide orient="horz" pos="2890"/>
        <p:guide pos="160"/>
        <p:guide pos="1589"/>
        <p:guide pos="1652"/>
        <p:guide orient="horz" pos="781"/>
        <p:guide pos="30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2964" y="33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sanne Kunzelmann" userId="460bbbb8-bd33-4b02-9649-52f5bccb28ee" providerId="ADAL" clId="{0D1B49C4-5902-4FC6-85E6-629D8E028C5F}"/>
    <pc:docChg chg="delSld">
      <pc:chgData name="Susanne Kunzelmann" userId="460bbbb8-bd33-4b02-9649-52f5bccb28ee" providerId="ADAL" clId="{0D1B49C4-5902-4FC6-85E6-629D8E028C5F}" dt="2023-10-23T08:57:25.124" v="0" actId="47"/>
      <pc:docMkLst>
        <pc:docMk/>
      </pc:docMkLst>
      <pc:sldChg chg="del">
        <pc:chgData name="Susanne Kunzelmann" userId="460bbbb8-bd33-4b02-9649-52f5bccb28ee" providerId="ADAL" clId="{0D1B49C4-5902-4FC6-85E6-629D8E028C5F}" dt="2023-10-23T08:57:25.124" v="0" actId="47"/>
        <pc:sldMkLst>
          <pc:docMk/>
          <pc:sldMk cId="1647428234" sldId="259"/>
        </pc:sldMkLst>
      </pc:sldChg>
    </pc:docChg>
  </pc:docChgLst>
  <pc:docChgLst>
    <pc:chgData name="Susanne Kunzelmann" userId="460bbbb8-bd33-4b02-9649-52f5bccb28ee" providerId="ADAL" clId="{110BD657-16E1-4FAE-A4A6-5F44566C55F1}"/>
    <pc:docChg chg="custSel addSld modSld">
      <pc:chgData name="Susanne Kunzelmann" userId="460bbbb8-bd33-4b02-9649-52f5bccb28ee" providerId="ADAL" clId="{110BD657-16E1-4FAE-A4A6-5F44566C55F1}" dt="2023-10-19T12:41:28.846" v="32" actId="1037"/>
      <pc:docMkLst>
        <pc:docMk/>
      </pc:docMkLst>
      <pc:sldChg chg="modSp mod">
        <pc:chgData name="Susanne Kunzelmann" userId="460bbbb8-bd33-4b02-9649-52f5bccb28ee" providerId="ADAL" clId="{110BD657-16E1-4FAE-A4A6-5F44566C55F1}" dt="2023-10-19T07:29:23.170" v="5" actId="18131"/>
        <pc:sldMkLst>
          <pc:docMk/>
          <pc:sldMk cId="1647428234" sldId="259"/>
        </pc:sldMkLst>
        <pc:spChg chg="mod modCrop">
          <ac:chgData name="Susanne Kunzelmann" userId="460bbbb8-bd33-4b02-9649-52f5bccb28ee" providerId="ADAL" clId="{110BD657-16E1-4FAE-A4A6-5F44566C55F1}" dt="2023-10-19T07:29:23.170" v="5" actId="18131"/>
          <ac:spMkLst>
            <pc:docMk/>
            <pc:sldMk cId="1647428234" sldId="259"/>
            <ac:spMk id="20" creationId="{0CEAB2B2-7A44-C69B-7766-E77173C7B007}"/>
          </ac:spMkLst>
        </pc:spChg>
      </pc:sldChg>
      <pc:sldChg chg="addSp delSp modSp add mod">
        <pc:chgData name="Susanne Kunzelmann" userId="460bbbb8-bd33-4b02-9649-52f5bccb28ee" providerId="ADAL" clId="{110BD657-16E1-4FAE-A4A6-5F44566C55F1}" dt="2023-10-19T12:41:28.846" v="32" actId="1037"/>
        <pc:sldMkLst>
          <pc:docMk/>
          <pc:sldMk cId="2182497565" sldId="261"/>
        </pc:sldMkLst>
        <pc:picChg chg="add mod">
          <ac:chgData name="Susanne Kunzelmann" userId="460bbbb8-bd33-4b02-9649-52f5bccb28ee" providerId="ADAL" clId="{110BD657-16E1-4FAE-A4A6-5F44566C55F1}" dt="2023-10-19T12:41:28.846" v="32" actId="1037"/>
          <ac:picMkLst>
            <pc:docMk/>
            <pc:sldMk cId="2182497565" sldId="261"/>
            <ac:picMk id="3" creationId="{E7D0BF00-5EC5-B484-9D9B-EE33556083BF}"/>
          </ac:picMkLst>
        </pc:picChg>
        <pc:picChg chg="del">
          <ac:chgData name="Susanne Kunzelmann" userId="460bbbb8-bd33-4b02-9649-52f5bccb28ee" providerId="ADAL" clId="{110BD657-16E1-4FAE-A4A6-5F44566C55F1}" dt="2023-10-19T12:41:26.174" v="27" actId="478"/>
          <ac:picMkLst>
            <pc:docMk/>
            <pc:sldMk cId="2182497565" sldId="261"/>
            <ac:picMk id="16" creationId="{B7E40369-D5D6-24A9-DBAE-D26092544873}"/>
          </ac:picMkLst>
        </pc:picChg>
      </pc:sldChg>
      <pc:sldChg chg="addSp delSp modSp add mod">
        <pc:chgData name="Susanne Kunzelmann" userId="460bbbb8-bd33-4b02-9649-52f5bccb28ee" providerId="ADAL" clId="{110BD657-16E1-4FAE-A4A6-5F44566C55F1}" dt="2023-10-19T12:41:17.861" v="21" actId="1037"/>
        <pc:sldMkLst>
          <pc:docMk/>
          <pc:sldMk cId="3919923586" sldId="262"/>
        </pc:sldMkLst>
        <pc:picChg chg="add mod">
          <ac:chgData name="Susanne Kunzelmann" userId="460bbbb8-bd33-4b02-9649-52f5bccb28ee" providerId="ADAL" clId="{110BD657-16E1-4FAE-A4A6-5F44566C55F1}" dt="2023-10-19T12:41:17.861" v="21" actId="1037"/>
          <ac:picMkLst>
            <pc:docMk/>
            <pc:sldMk cId="3919923586" sldId="262"/>
            <ac:picMk id="2" creationId="{695D011D-9D0C-0CE1-40AC-6274A1C9196F}"/>
          </ac:picMkLst>
        </pc:picChg>
        <pc:picChg chg="del">
          <ac:chgData name="Susanne Kunzelmann" userId="460bbbb8-bd33-4b02-9649-52f5bccb28ee" providerId="ADAL" clId="{110BD657-16E1-4FAE-A4A6-5F44566C55F1}" dt="2023-10-19T12:41:15.503" v="16" actId="478"/>
          <ac:picMkLst>
            <pc:docMk/>
            <pc:sldMk cId="3919923586" sldId="262"/>
            <ac:picMk id="16" creationId="{B7E40369-D5D6-24A9-DBAE-D26092544873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DBFC116-0A75-42B5-A04E-F8BD0D6498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B0CF9B-D954-42B7-B17E-338E3FF69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D7338C-558B-4699-B3FB-1110B8EA4586}" type="datetimeFigureOut">
              <a:rPr lang="de-DE" smtClean="0"/>
              <a:t>26.10.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4D72FA-85CC-4596-9FF4-9ED4A04B2B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88BB88-0E94-40AD-91D8-222A3B335C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DA3FD-D6B2-4777-A342-E12BB081EB6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693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12F3CF-33A8-431F-AD91-991887D9CE92}" type="datetimeFigureOut">
              <a:rPr lang="en-US" smtClean="0"/>
              <a:t>10/26/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863725" y="923925"/>
            <a:ext cx="3070225" cy="3070225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625" y="4297189"/>
            <a:ext cx="6034426" cy="48065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4F251E-0D5E-4CFD-ACCC-9623B92A1BF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776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685800" rtl="0" eaLnBrk="1" latinLnBrk="0" hangingPunct="1">
      <a:buClr>
        <a:schemeClr val="accent2"/>
      </a:buClr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e Post Kurz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hteck 42">
            <a:extLst>
              <a:ext uri="{FF2B5EF4-FFF2-40B4-BE49-F238E27FC236}">
                <a16:creationId xmlns:a16="http://schemas.microsoft.com/office/drawing/2014/main" id="{9D18B596-680B-5B7C-C07E-A14DFB13BA4A}"/>
              </a:ext>
            </a:extLst>
          </p:cNvPr>
          <p:cNvSpPr>
            <a:spLocks noChangeAspect="1"/>
          </p:cNvSpPr>
          <p:nvPr userDrawn="1"/>
        </p:nvSpPr>
        <p:spPr>
          <a:xfrm>
            <a:off x="-794" y="0"/>
            <a:ext cx="5144400" cy="514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893" y="1588"/>
          <a:ext cx="89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1588"/>
                        <a:ext cx="89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89324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154979" y="-257175"/>
            <a:ext cx="5455045" cy="5657850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6" name="Freihandform 25">
            <a:extLst>
              <a:ext uri="{FF2B5EF4-FFF2-40B4-BE49-F238E27FC236}">
                <a16:creationId xmlns:a16="http://schemas.microsoft.com/office/drawing/2014/main" id="{4C087538-23B8-032E-F884-C5D6D8CF63F6}"/>
              </a:ext>
            </a:extLst>
          </p:cNvPr>
          <p:cNvSpPr/>
          <p:nvPr userDrawn="1"/>
        </p:nvSpPr>
        <p:spPr>
          <a:xfrm rot="2700000">
            <a:off x="486607" y="-1177482"/>
            <a:ext cx="5457751" cy="3639249"/>
          </a:xfrm>
          <a:custGeom>
            <a:avLst/>
            <a:gdLst>
              <a:gd name="connsiteX0" fmla="*/ 0 w 5457751"/>
              <a:gd name="connsiteY0" fmla="*/ 3638126 h 3639249"/>
              <a:gd name="connsiteX1" fmla="*/ 3638126 w 5457751"/>
              <a:gd name="connsiteY1" fmla="*/ 0 h 3639249"/>
              <a:gd name="connsiteX2" fmla="*/ 5457751 w 5457751"/>
              <a:gd name="connsiteY2" fmla="*/ 1819625 h 3639249"/>
              <a:gd name="connsiteX3" fmla="*/ 5457265 w 5457751"/>
              <a:gd name="connsiteY3" fmla="*/ 1820112 h 3639249"/>
              <a:gd name="connsiteX4" fmla="*/ 3638763 w 5457751"/>
              <a:gd name="connsiteY4" fmla="*/ 1610 h 3639249"/>
              <a:gd name="connsiteX5" fmla="*/ 1123 w 5457751"/>
              <a:gd name="connsiteY5" fmla="*/ 3639249 h 363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57751" h="3639249">
                <a:moveTo>
                  <a:pt x="0" y="3638126"/>
                </a:moveTo>
                <a:lnTo>
                  <a:pt x="3638126" y="0"/>
                </a:lnTo>
                <a:lnTo>
                  <a:pt x="5457751" y="1819625"/>
                </a:lnTo>
                <a:lnTo>
                  <a:pt x="5457265" y="1820112"/>
                </a:lnTo>
                <a:lnTo>
                  <a:pt x="3638763" y="1610"/>
                </a:lnTo>
                <a:lnTo>
                  <a:pt x="1123" y="363924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t">
            <a:noAutofit/>
          </a:bodyPr>
          <a:lstStyle/>
          <a:p>
            <a:pPr algn="l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2" name="Freihandform 41">
            <a:extLst>
              <a:ext uri="{FF2B5EF4-FFF2-40B4-BE49-F238E27FC236}">
                <a16:creationId xmlns:a16="http://schemas.microsoft.com/office/drawing/2014/main" id="{9EC96741-CE45-5924-497B-7EDFDCB94F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-1"/>
            <a:ext cx="5145088" cy="2747490"/>
          </a:xfrm>
          <a:custGeom>
            <a:avLst/>
            <a:gdLst>
              <a:gd name="connsiteX0" fmla="*/ 0 w 5145088"/>
              <a:gd name="connsiteY0" fmla="*/ 0 h 2747490"/>
              <a:gd name="connsiteX1" fmla="*/ 5145088 w 5145088"/>
              <a:gd name="connsiteY1" fmla="*/ 0 h 2747490"/>
              <a:gd name="connsiteX2" fmla="*/ 5145088 w 5145088"/>
              <a:gd name="connsiteY2" fmla="*/ 2571751 h 2747490"/>
              <a:gd name="connsiteX3" fmla="*/ 3602544 w 5145088"/>
              <a:gd name="connsiteY3" fmla="*/ 2571751 h 2747490"/>
              <a:gd name="connsiteX4" fmla="*/ 3426805 w 5145088"/>
              <a:gd name="connsiteY4" fmla="*/ 2747490 h 2747490"/>
              <a:gd name="connsiteX5" fmla="*/ 3251066 w 5145088"/>
              <a:gd name="connsiteY5" fmla="*/ 2571751 h 2747490"/>
              <a:gd name="connsiteX6" fmla="*/ 0 w 5145088"/>
              <a:gd name="connsiteY6" fmla="*/ 2571751 h 27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5088" h="2747490">
                <a:moveTo>
                  <a:pt x="0" y="0"/>
                </a:moveTo>
                <a:lnTo>
                  <a:pt x="5145088" y="0"/>
                </a:lnTo>
                <a:lnTo>
                  <a:pt x="5145088" y="2571751"/>
                </a:lnTo>
                <a:lnTo>
                  <a:pt x="3602544" y="2571751"/>
                </a:lnTo>
                <a:lnTo>
                  <a:pt x="3426805" y="2747490"/>
                </a:lnTo>
                <a:lnTo>
                  <a:pt x="3251066" y="2571751"/>
                </a:lnTo>
                <a:lnTo>
                  <a:pt x="0" y="257175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endParaRPr lang="de-DE"/>
          </a:p>
        </p:txBody>
      </p:sp>
      <p:pic>
        <p:nvPicPr>
          <p:cNvPr id="49" name="Grafik 48">
            <a:extLst>
              <a:ext uri="{FF2B5EF4-FFF2-40B4-BE49-F238E27FC236}">
                <a16:creationId xmlns:a16="http://schemas.microsoft.com/office/drawing/2014/main" id="{A0D0E24C-8AD2-BDE0-B632-A5A466E52B0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7829" y="4670416"/>
            <a:ext cx="662987" cy="331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06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oMe Post Lang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hteck 42">
            <a:extLst>
              <a:ext uri="{FF2B5EF4-FFF2-40B4-BE49-F238E27FC236}">
                <a16:creationId xmlns:a16="http://schemas.microsoft.com/office/drawing/2014/main" id="{9D18B596-680B-5B7C-C07E-A14DFB13BA4A}"/>
              </a:ext>
            </a:extLst>
          </p:cNvPr>
          <p:cNvSpPr>
            <a:spLocks noChangeAspect="1"/>
          </p:cNvSpPr>
          <p:nvPr userDrawn="1"/>
        </p:nvSpPr>
        <p:spPr>
          <a:xfrm>
            <a:off x="-794" y="0"/>
            <a:ext cx="5144400" cy="514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893" y="1588"/>
          <a:ext cx="89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1588"/>
                        <a:ext cx="89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89324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154979" y="-257175"/>
            <a:ext cx="5455045" cy="5657850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6" name="Freihandform 25">
            <a:extLst>
              <a:ext uri="{FF2B5EF4-FFF2-40B4-BE49-F238E27FC236}">
                <a16:creationId xmlns:a16="http://schemas.microsoft.com/office/drawing/2014/main" id="{4C087538-23B8-032E-F884-C5D6D8CF63F6}"/>
              </a:ext>
            </a:extLst>
          </p:cNvPr>
          <p:cNvSpPr/>
          <p:nvPr userDrawn="1"/>
        </p:nvSpPr>
        <p:spPr>
          <a:xfrm rot="2700000">
            <a:off x="486607" y="-1177482"/>
            <a:ext cx="5457751" cy="3639249"/>
          </a:xfrm>
          <a:custGeom>
            <a:avLst/>
            <a:gdLst>
              <a:gd name="connsiteX0" fmla="*/ 0 w 5457751"/>
              <a:gd name="connsiteY0" fmla="*/ 3638126 h 3639249"/>
              <a:gd name="connsiteX1" fmla="*/ 3638126 w 5457751"/>
              <a:gd name="connsiteY1" fmla="*/ 0 h 3639249"/>
              <a:gd name="connsiteX2" fmla="*/ 5457751 w 5457751"/>
              <a:gd name="connsiteY2" fmla="*/ 1819625 h 3639249"/>
              <a:gd name="connsiteX3" fmla="*/ 5457265 w 5457751"/>
              <a:gd name="connsiteY3" fmla="*/ 1820112 h 3639249"/>
              <a:gd name="connsiteX4" fmla="*/ 3638763 w 5457751"/>
              <a:gd name="connsiteY4" fmla="*/ 1610 h 3639249"/>
              <a:gd name="connsiteX5" fmla="*/ 1123 w 5457751"/>
              <a:gd name="connsiteY5" fmla="*/ 3639249 h 363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57751" h="3639249">
                <a:moveTo>
                  <a:pt x="0" y="3638126"/>
                </a:moveTo>
                <a:lnTo>
                  <a:pt x="3638126" y="0"/>
                </a:lnTo>
                <a:lnTo>
                  <a:pt x="5457751" y="1819625"/>
                </a:lnTo>
                <a:lnTo>
                  <a:pt x="5457265" y="1820112"/>
                </a:lnTo>
                <a:lnTo>
                  <a:pt x="3638763" y="1610"/>
                </a:lnTo>
                <a:lnTo>
                  <a:pt x="1123" y="363924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t">
            <a:noAutofit/>
          </a:bodyPr>
          <a:lstStyle/>
          <a:p>
            <a:pPr algn="l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49" name="Grafik 48">
            <a:extLst>
              <a:ext uri="{FF2B5EF4-FFF2-40B4-BE49-F238E27FC236}">
                <a16:creationId xmlns:a16="http://schemas.microsoft.com/office/drawing/2014/main" id="{A0D0E24C-8AD2-BDE0-B632-A5A466E52B0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7829" y="4670416"/>
            <a:ext cx="662987" cy="331494"/>
          </a:xfrm>
          <a:prstGeom prst="rect">
            <a:avLst/>
          </a:prstGeom>
        </p:spPr>
      </p:pic>
      <p:sp>
        <p:nvSpPr>
          <p:cNvPr id="9" name="Freihandform 8">
            <a:extLst>
              <a:ext uri="{FF2B5EF4-FFF2-40B4-BE49-F238E27FC236}">
                <a16:creationId xmlns:a16="http://schemas.microsoft.com/office/drawing/2014/main" id="{276008F8-3439-2436-CC16-E40D31E72FAF}"/>
              </a:ext>
            </a:extLst>
          </p:cNvPr>
          <p:cNvSpPr/>
          <p:nvPr userDrawn="1"/>
        </p:nvSpPr>
        <p:spPr>
          <a:xfrm rot="2700000">
            <a:off x="-155770" y="-1442440"/>
            <a:ext cx="5456629" cy="5456629"/>
          </a:xfrm>
          <a:custGeom>
            <a:avLst/>
            <a:gdLst>
              <a:gd name="connsiteX0" fmla="*/ 0 w 5456629"/>
              <a:gd name="connsiteY0" fmla="*/ 3638127 h 5456629"/>
              <a:gd name="connsiteX1" fmla="*/ 3638127 w 5456629"/>
              <a:gd name="connsiteY1" fmla="*/ 0 h 5456629"/>
              <a:gd name="connsiteX2" fmla="*/ 5456629 w 5456629"/>
              <a:gd name="connsiteY2" fmla="*/ 1818503 h 5456629"/>
              <a:gd name="connsiteX3" fmla="*/ 4365886 w 5456629"/>
              <a:gd name="connsiteY3" fmla="*/ 2909246 h 5456629"/>
              <a:gd name="connsiteX4" fmla="*/ 4365886 w 5456629"/>
              <a:gd name="connsiteY4" fmla="*/ 3157779 h 5456629"/>
              <a:gd name="connsiteX5" fmla="*/ 4117353 w 5456629"/>
              <a:gd name="connsiteY5" fmla="*/ 3157779 h 5456629"/>
              <a:gd name="connsiteX6" fmla="*/ 2386029 w 5456629"/>
              <a:gd name="connsiteY6" fmla="*/ 4889103 h 5456629"/>
              <a:gd name="connsiteX7" fmla="*/ 2386029 w 5456629"/>
              <a:gd name="connsiteY7" fmla="*/ 5134535 h 5456629"/>
              <a:gd name="connsiteX8" fmla="*/ 2140597 w 5456629"/>
              <a:gd name="connsiteY8" fmla="*/ 5134535 h 5456629"/>
              <a:gd name="connsiteX9" fmla="*/ 1818503 w 5456629"/>
              <a:gd name="connsiteY9" fmla="*/ 5456629 h 5456629"/>
              <a:gd name="connsiteX0" fmla="*/ 0 w 5456629"/>
              <a:gd name="connsiteY0" fmla="*/ 3638127 h 5456629"/>
              <a:gd name="connsiteX1" fmla="*/ 3638127 w 5456629"/>
              <a:gd name="connsiteY1" fmla="*/ 0 h 5456629"/>
              <a:gd name="connsiteX2" fmla="*/ 5456629 w 5456629"/>
              <a:gd name="connsiteY2" fmla="*/ 1818503 h 5456629"/>
              <a:gd name="connsiteX3" fmla="*/ 4365886 w 5456629"/>
              <a:gd name="connsiteY3" fmla="*/ 2909246 h 5456629"/>
              <a:gd name="connsiteX4" fmla="*/ 4246032 w 5456629"/>
              <a:gd name="connsiteY4" fmla="*/ 3037926 h 5456629"/>
              <a:gd name="connsiteX5" fmla="*/ 4117353 w 5456629"/>
              <a:gd name="connsiteY5" fmla="*/ 3157779 h 5456629"/>
              <a:gd name="connsiteX6" fmla="*/ 2386029 w 5456629"/>
              <a:gd name="connsiteY6" fmla="*/ 4889103 h 5456629"/>
              <a:gd name="connsiteX7" fmla="*/ 2386029 w 5456629"/>
              <a:gd name="connsiteY7" fmla="*/ 5134535 h 5456629"/>
              <a:gd name="connsiteX8" fmla="*/ 2140597 w 5456629"/>
              <a:gd name="connsiteY8" fmla="*/ 5134535 h 5456629"/>
              <a:gd name="connsiteX9" fmla="*/ 1818503 w 5456629"/>
              <a:gd name="connsiteY9" fmla="*/ 5456629 h 5456629"/>
              <a:gd name="connsiteX10" fmla="*/ 0 w 5456629"/>
              <a:gd name="connsiteY10" fmla="*/ 3638127 h 5456629"/>
              <a:gd name="connsiteX0" fmla="*/ 0 w 5456629"/>
              <a:gd name="connsiteY0" fmla="*/ 3638127 h 5456629"/>
              <a:gd name="connsiteX1" fmla="*/ 3638127 w 5456629"/>
              <a:gd name="connsiteY1" fmla="*/ 0 h 5456629"/>
              <a:gd name="connsiteX2" fmla="*/ 5456629 w 5456629"/>
              <a:gd name="connsiteY2" fmla="*/ 1818503 h 5456629"/>
              <a:gd name="connsiteX3" fmla="*/ 4365886 w 5456629"/>
              <a:gd name="connsiteY3" fmla="*/ 2909246 h 5456629"/>
              <a:gd name="connsiteX4" fmla="*/ 4234807 w 5456629"/>
              <a:gd name="connsiteY4" fmla="*/ 3022211 h 5456629"/>
              <a:gd name="connsiteX5" fmla="*/ 4117353 w 5456629"/>
              <a:gd name="connsiteY5" fmla="*/ 3157779 h 5456629"/>
              <a:gd name="connsiteX6" fmla="*/ 2386029 w 5456629"/>
              <a:gd name="connsiteY6" fmla="*/ 4889103 h 5456629"/>
              <a:gd name="connsiteX7" fmla="*/ 2386029 w 5456629"/>
              <a:gd name="connsiteY7" fmla="*/ 5134535 h 5456629"/>
              <a:gd name="connsiteX8" fmla="*/ 2140597 w 5456629"/>
              <a:gd name="connsiteY8" fmla="*/ 5134535 h 5456629"/>
              <a:gd name="connsiteX9" fmla="*/ 1818503 w 5456629"/>
              <a:gd name="connsiteY9" fmla="*/ 5456629 h 5456629"/>
              <a:gd name="connsiteX10" fmla="*/ 0 w 5456629"/>
              <a:gd name="connsiteY10" fmla="*/ 3638127 h 5456629"/>
              <a:gd name="connsiteX0" fmla="*/ 0 w 5456629"/>
              <a:gd name="connsiteY0" fmla="*/ 3638127 h 5456629"/>
              <a:gd name="connsiteX1" fmla="*/ 3638127 w 5456629"/>
              <a:gd name="connsiteY1" fmla="*/ 0 h 5456629"/>
              <a:gd name="connsiteX2" fmla="*/ 5456629 w 5456629"/>
              <a:gd name="connsiteY2" fmla="*/ 1818503 h 5456629"/>
              <a:gd name="connsiteX3" fmla="*/ 4365886 w 5456629"/>
              <a:gd name="connsiteY3" fmla="*/ 2909246 h 5456629"/>
              <a:gd name="connsiteX4" fmla="*/ 4117353 w 5456629"/>
              <a:gd name="connsiteY4" fmla="*/ 3157779 h 5456629"/>
              <a:gd name="connsiteX5" fmla="*/ 2386029 w 5456629"/>
              <a:gd name="connsiteY5" fmla="*/ 4889103 h 5456629"/>
              <a:gd name="connsiteX6" fmla="*/ 2386029 w 5456629"/>
              <a:gd name="connsiteY6" fmla="*/ 5134535 h 5456629"/>
              <a:gd name="connsiteX7" fmla="*/ 2140597 w 5456629"/>
              <a:gd name="connsiteY7" fmla="*/ 5134535 h 5456629"/>
              <a:gd name="connsiteX8" fmla="*/ 1818503 w 5456629"/>
              <a:gd name="connsiteY8" fmla="*/ 5456629 h 5456629"/>
              <a:gd name="connsiteX9" fmla="*/ 0 w 5456629"/>
              <a:gd name="connsiteY9" fmla="*/ 3638127 h 5456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56629" h="5456629">
                <a:moveTo>
                  <a:pt x="0" y="3638127"/>
                </a:moveTo>
                <a:lnTo>
                  <a:pt x="3638127" y="0"/>
                </a:lnTo>
                <a:lnTo>
                  <a:pt x="5456629" y="1818503"/>
                </a:lnTo>
                <a:lnTo>
                  <a:pt x="4365886" y="2909246"/>
                </a:lnTo>
                <a:lnTo>
                  <a:pt x="4117353" y="3157779"/>
                </a:lnTo>
                <a:lnTo>
                  <a:pt x="2386029" y="4889103"/>
                </a:lnTo>
                <a:lnTo>
                  <a:pt x="2386029" y="5134535"/>
                </a:lnTo>
                <a:lnTo>
                  <a:pt x="2140597" y="5134535"/>
                </a:lnTo>
                <a:lnTo>
                  <a:pt x="1818503" y="5456629"/>
                </a:lnTo>
                <a:lnTo>
                  <a:pt x="0" y="363812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t">
            <a:noAutofit/>
          </a:bodyPr>
          <a:lstStyle/>
          <a:p>
            <a:pPr algn="l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" name="Freihandform 9">
            <a:extLst>
              <a:ext uri="{FF2B5EF4-FFF2-40B4-BE49-F238E27FC236}">
                <a16:creationId xmlns:a16="http://schemas.microsoft.com/office/drawing/2014/main" id="{1712ADA8-E497-A140-E973-E4FDEB7EE9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-1"/>
            <a:ext cx="5145088" cy="2743156"/>
          </a:xfrm>
          <a:custGeom>
            <a:avLst/>
            <a:gdLst>
              <a:gd name="connsiteX0" fmla="*/ 0 w 5145088"/>
              <a:gd name="connsiteY0" fmla="*/ 0 h 2747490"/>
              <a:gd name="connsiteX1" fmla="*/ 5145088 w 5145088"/>
              <a:gd name="connsiteY1" fmla="*/ 0 h 2747490"/>
              <a:gd name="connsiteX2" fmla="*/ 5145088 w 5145088"/>
              <a:gd name="connsiteY2" fmla="*/ 2571751 h 2747490"/>
              <a:gd name="connsiteX3" fmla="*/ 3602544 w 5145088"/>
              <a:gd name="connsiteY3" fmla="*/ 2571751 h 2747490"/>
              <a:gd name="connsiteX4" fmla="*/ 3426805 w 5145088"/>
              <a:gd name="connsiteY4" fmla="*/ 2747490 h 2747490"/>
              <a:gd name="connsiteX5" fmla="*/ 3251066 w 5145088"/>
              <a:gd name="connsiteY5" fmla="*/ 2571751 h 2747490"/>
              <a:gd name="connsiteX6" fmla="*/ 0 w 5145088"/>
              <a:gd name="connsiteY6" fmla="*/ 2571751 h 2747490"/>
              <a:gd name="connsiteX0" fmla="*/ 0 w 5145088"/>
              <a:gd name="connsiteY0" fmla="*/ 0 h 2747490"/>
              <a:gd name="connsiteX1" fmla="*/ 5145088 w 5145088"/>
              <a:gd name="connsiteY1" fmla="*/ 0 h 2747490"/>
              <a:gd name="connsiteX2" fmla="*/ 5145088 w 5145088"/>
              <a:gd name="connsiteY2" fmla="*/ 2571751 h 2747490"/>
              <a:gd name="connsiteX3" fmla="*/ 3602544 w 5145088"/>
              <a:gd name="connsiteY3" fmla="*/ 2571751 h 2747490"/>
              <a:gd name="connsiteX4" fmla="*/ 3426805 w 5145088"/>
              <a:gd name="connsiteY4" fmla="*/ 2747490 h 2747490"/>
              <a:gd name="connsiteX5" fmla="*/ 455863 w 5145088"/>
              <a:gd name="connsiteY5" fmla="*/ 2571751 h 2747490"/>
              <a:gd name="connsiteX6" fmla="*/ 0 w 5145088"/>
              <a:gd name="connsiteY6" fmla="*/ 2571751 h 2747490"/>
              <a:gd name="connsiteX7" fmla="*/ 0 w 5145088"/>
              <a:gd name="connsiteY7" fmla="*/ 0 h 2747490"/>
              <a:gd name="connsiteX0" fmla="*/ 0 w 5145088"/>
              <a:gd name="connsiteY0" fmla="*/ 0 h 2743156"/>
              <a:gd name="connsiteX1" fmla="*/ 5145088 w 5145088"/>
              <a:gd name="connsiteY1" fmla="*/ 0 h 2743156"/>
              <a:gd name="connsiteX2" fmla="*/ 5145088 w 5145088"/>
              <a:gd name="connsiteY2" fmla="*/ 2571751 h 2743156"/>
              <a:gd name="connsiteX3" fmla="*/ 3602544 w 5145088"/>
              <a:gd name="connsiteY3" fmla="*/ 2571751 h 2743156"/>
              <a:gd name="connsiteX4" fmla="*/ 627267 w 5145088"/>
              <a:gd name="connsiteY4" fmla="*/ 2743156 h 2743156"/>
              <a:gd name="connsiteX5" fmla="*/ 455863 w 5145088"/>
              <a:gd name="connsiteY5" fmla="*/ 2571751 h 2743156"/>
              <a:gd name="connsiteX6" fmla="*/ 0 w 5145088"/>
              <a:gd name="connsiteY6" fmla="*/ 2571751 h 2743156"/>
              <a:gd name="connsiteX7" fmla="*/ 0 w 5145088"/>
              <a:gd name="connsiteY7" fmla="*/ 0 h 2743156"/>
              <a:gd name="connsiteX0" fmla="*/ 0 w 5145088"/>
              <a:gd name="connsiteY0" fmla="*/ 0 h 2743156"/>
              <a:gd name="connsiteX1" fmla="*/ 5145088 w 5145088"/>
              <a:gd name="connsiteY1" fmla="*/ 0 h 2743156"/>
              <a:gd name="connsiteX2" fmla="*/ 5145088 w 5145088"/>
              <a:gd name="connsiteY2" fmla="*/ 2571751 h 2743156"/>
              <a:gd name="connsiteX3" fmla="*/ 807340 w 5145088"/>
              <a:gd name="connsiteY3" fmla="*/ 2580418 h 2743156"/>
              <a:gd name="connsiteX4" fmla="*/ 627267 w 5145088"/>
              <a:gd name="connsiteY4" fmla="*/ 2743156 h 2743156"/>
              <a:gd name="connsiteX5" fmla="*/ 455863 w 5145088"/>
              <a:gd name="connsiteY5" fmla="*/ 2571751 h 2743156"/>
              <a:gd name="connsiteX6" fmla="*/ 0 w 5145088"/>
              <a:gd name="connsiteY6" fmla="*/ 2571751 h 2743156"/>
              <a:gd name="connsiteX7" fmla="*/ 0 w 5145088"/>
              <a:gd name="connsiteY7" fmla="*/ 0 h 2743156"/>
              <a:gd name="connsiteX0" fmla="*/ 0 w 5145088"/>
              <a:gd name="connsiteY0" fmla="*/ 0 h 2743156"/>
              <a:gd name="connsiteX1" fmla="*/ 5145088 w 5145088"/>
              <a:gd name="connsiteY1" fmla="*/ 0 h 2743156"/>
              <a:gd name="connsiteX2" fmla="*/ 5145088 w 5145088"/>
              <a:gd name="connsiteY2" fmla="*/ 2571751 h 2743156"/>
              <a:gd name="connsiteX3" fmla="*/ 664329 w 5145088"/>
              <a:gd name="connsiteY3" fmla="*/ 2580418 h 2743156"/>
              <a:gd name="connsiteX4" fmla="*/ 627267 w 5145088"/>
              <a:gd name="connsiteY4" fmla="*/ 2743156 h 2743156"/>
              <a:gd name="connsiteX5" fmla="*/ 455863 w 5145088"/>
              <a:gd name="connsiteY5" fmla="*/ 2571751 h 2743156"/>
              <a:gd name="connsiteX6" fmla="*/ 0 w 5145088"/>
              <a:gd name="connsiteY6" fmla="*/ 2571751 h 2743156"/>
              <a:gd name="connsiteX7" fmla="*/ 0 w 5145088"/>
              <a:gd name="connsiteY7" fmla="*/ 0 h 2743156"/>
              <a:gd name="connsiteX0" fmla="*/ 0 w 5145088"/>
              <a:gd name="connsiteY0" fmla="*/ 0 h 2743156"/>
              <a:gd name="connsiteX1" fmla="*/ 5145088 w 5145088"/>
              <a:gd name="connsiteY1" fmla="*/ 0 h 2743156"/>
              <a:gd name="connsiteX2" fmla="*/ 5145088 w 5145088"/>
              <a:gd name="connsiteY2" fmla="*/ 2571751 h 2743156"/>
              <a:gd name="connsiteX3" fmla="*/ 811673 w 5145088"/>
              <a:gd name="connsiteY3" fmla="*/ 2532748 h 2743156"/>
              <a:gd name="connsiteX4" fmla="*/ 627267 w 5145088"/>
              <a:gd name="connsiteY4" fmla="*/ 2743156 h 2743156"/>
              <a:gd name="connsiteX5" fmla="*/ 455863 w 5145088"/>
              <a:gd name="connsiteY5" fmla="*/ 2571751 h 2743156"/>
              <a:gd name="connsiteX6" fmla="*/ 0 w 5145088"/>
              <a:gd name="connsiteY6" fmla="*/ 2571751 h 2743156"/>
              <a:gd name="connsiteX7" fmla="*/ 0 w 5145088"/>
              <a:gd name="connsiteY7" fmla="*/ 0 h 2743156"/>
              <a:gd name="connsiteX0" fmla="*/ 0 w 5145088"/>
              <a:gd name="connsiteY0" fmla="*/ 0 h 2743156"/>
              <a:gd name="connsiteX1" fmla="*/ 5145088 w 5145088"/>
              <a:gd name="connsiteY1" fmla="*/ 0 h 2743156"/>
              <a:gd name="connsiteX2" fmla="*/ 5145088 w 5145088"/>
              <a:gd name="connsiteY2" fmla="*/ 2571751 h 2743156"/>
              <a:gd name="connsiteX3" fmla="*/ 803006 w 5145088"/>
              <a:gd name="connsiteY3" fmla="*/ 2571751 h 2743156"/>
              <a:gd name="connsiteX4" fmla="*/ 627267 w 5145088"/>
              <a:gd name="connsiteY4" fmla="*/ 2743156 h 2743156"/>
              <a:gd name="connsiteX5" fmla="*/ 455863 w 5145088"/>
              <a:gd name="connsiteY5" fmla="*/ 2571751 h 2743156"/>
              <a:gd name="connsiteX6" fmla="*/ 0 w 5145088"/>
              <a:gd name="connsiteY6" fmla="*/ 2571751 h 2743156"/>
              <a:gd name="connsiteX7" fmla="*/ 0 w 5145088"/>
              <a:gd name="connsiteY7" fmla="*/ 0 h 2743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45088" h="2743156">
                <a:moveTo>
                  <a:pt x="0" y="0"/>
                </a:moveTo>
                <a:lnTo>
                  <a:pt x="5145088" y="0"/>
                </a:lnTo>
                <a:lnTo>
                  <a:pt x="5145088" y="2571751"/>
                </a:lnTo>
                <a:lnTo>
                  <a:pt x="803006" y="2571751"/>
                </a:lnTo>
                <a:lnTo>
                  <a:pt x="627267" y="2743156"/>
                </a:lnTo>
                <a:lnTo>
                  <a:pt x="455863" y="2571751"/>
                </a:lnTo>
                <a:lnTo>
                  <a:pt x="0" y="2571751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7505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9494226-E554-4FC7-B318-8585A96BFA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07897003"/>
              </p:ext>
            </p:extLst>
          </p:nvPr>
        </p:nvGraphicFramePr>
        <p:xfrm>
          <a:off x="670" y="1192"/>
          <a:ext cx="67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9494226-E554-4FC7-B318-8585A96BF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70" y="1192"/>
                        <a:ext cx="67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E8200DA-6877-4A0D-B76D-424E7DEE2674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1"/>
            <a:ext cx="66994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B86E61B-1555-4B54-8C51-D0C2BAEE3892}"/>
              </a:ext>
            </a:extLst>
          </p:cNvPr>
          <p:cNvGrpSpPr/>
          <p:nvPr userDrawn="1"/>
        </p:nvGrpSpPr>
        <p:grpSpPr>
          <a:xfrm>
            <a:off x="-154979" y="-257175"/>
            <a:ext cx="5455045" cy="5657850"/>
            <a:chOff x="-275432" y="-257175"/>
            <a:chExt cx="9694864" cy="5657850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DB04EBDB-6A7B-41F4-9D21-500C86167CBD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4C53E18-2E52-4A5A-BFE9-6E211A58729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46A5D2C9-8E80-4F2D-99C8-9C39CD844AC8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044A3345-E6E7-4E61-8442-D39B7168205E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31827FFE-80B9-477D-96AE-EAAD5AAE8410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0D40870-2C76-4F71-BD42-6EFF05528E0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F4B1C61-34C8-45DA-AB77-603DA8383E83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A6AC9FD-F403-4379-8988-3954EBD52BDF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88E6779E-0635-4B7F-803D-E85697035A8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99D28C8A-CB08-4192-ABDD-A23FBD188D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7E377B75-8EB1-4F25-8C6A-A135AD8851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3A6A6AF1-A6BE-4274-B88F-8252F09C734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2ECDE6AF-4A10-46FF-B72E-92A482B303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0BD9BC89-0BDB-4EBC-BE38-E58CB96531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007804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sldNum="0"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9" userDrawn="1">
          <p15:clr>
            <a:srgbClr val="F26B43"/>
          </p15:clr>
        </p15:guide>
        <p15:guide id="2" pos="1589" userDrawn="1">
          <p15:clr>
            <a:srgbClr val="F26B43"/>
          </p15:clr>
        </p15:guide>
        <p15:guide id="3" pos="1652" userDrawn="1">
          <p15:clr>
            <a:srgbClr val="F26B43"/>
          </p15:clr>
        </p15:guide>
        <p15:guide id="4" pos="3081" userDrawn="1">
          <p15:clr>
            <a:srgbClr val="F26B43"/>
          </p15:clr>
        </p15:guide>
        <p15:guide id="5" orient="horz" pos="781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5A45ADB3-0F58-3825-59D3-BA5675F28C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3181FD78-0864-DA26-30AD-5C56970105D1}"/>
              </a:ext>
            </a:extLst>
          </p:cNvPr>
          <p:cNvGrpSpPr/>
          <p:nvPr/>
        </p:nvGrpSpPr>
        <p:grpSpPr>
          <a:xfrm>
            <a:off x="2334908" y="4573703"/>
            <a:ext cx="2592958" cy="360000"/>
            <a:chOff x="2189908" y="4573703"/>
            <a:chExt cx="2592958" cy="360000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E9453439-32A5-AD22-52A6-B5B988D0A627}"/>
                </a:ext>
              </a:extLst>
            </p:cNvPr>
            <p:cNvSpPr/>
            <p:nvPr/>
          </p:nvSpPr>
          <p:spPr>
            <a:xfrm>
              <a:off x="2189908" y="4573703"/>
              <a:ext cx="2592958" cy="360000"/>
            </a:xfrm>
            <a:prstGeom prst="rect">
              <a:avLst/>
            </a:prstGeom>
            <a:solidFill>
              <a:srgbClr val="E40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26F311FA-F9E8-B3AE-3EFD-A6D3D8145A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92778" y="4623151"/>
              <a:ext cx="216000" cy="244422"/>
            </a:xfrm>
            <a:prstGeom prst="rect">
              <a:avLst/>
            </a:prstGeom>
          </p:spPr>
        </p:pic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AC64C7D3-936C-1DDA-1C62-53A120C1A45F}"/>
              </a:ext>
            </a:extLst>
          </p:cNvPr>
          <p:cNvSpPr txBox="1"/>
          <p:nvPr/>
        </p:nvSpPr>
        <p:spPr>
          <a:xfrm>
            <a:off x="2762841" y="4622857"/>
            <a:ext cx="21191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ostenfrei anmelden</a:t>
            </a:r>
          </a:p>
        </p:txBody>
      </p:sp>
      <p:sp>
        <p:nvSpPr>
          <p:cNvPr id="9" name="Titelplatzhalter 18">
            <a:extLst>
              <a:ext uri="{FF2B5EF4-FFF2-40B4-BE49-F238E27FC236}">
                <a16:creationId xmlns:a16="http://schemas.microsoft.com/office/drawing/2014/main" id="{A3CDD64F-5311-9982-33C5-3CB006F92F63}"/>
              </a:ext>
            </a:extLst>
          </p:cNvPr>
          <p:cNvSpPr txBox="1">
            <a:spLocks/>
          </p:cNvSpPr>
          <p:nvPr/>
        </p:nvSpPr>
        <p:spPr>
          <a:xfrm>
            <a:off x="606108" y="2827382"/>
            <a:ext cx="4326270" cy="773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ts val="2820"/>
              </a:lnSpc>
            </a:pPr>
            <a:r>
              <a:rPr lang="de-DE" sz="2600" b="1" noProof="1">
                <a:solidFill>
                  <a:srgbClr val="003366"/>
                </a:solidFill>
                <a:latin typeface="Source Sans Pro" panose="020B0503030403020204" pitchFamily="34" charset="0"/>
              </a:rPr>
              <a:t>Hier steht der Titel </a:t>
            </a:r>
            <a:br>
              <a:rPr lang="de-DE" sz="2600" b="1" noProof="1">
                <a:solidFill>
                  <a:srgbClr val="003366"/>
                </a:solidFill>
                <a:latin typeface="Source Sans Pro" panose="020B0503030403020204" pitchFamily="34" charset="0"/>
              </a:rPr>
            </a:br>
            <a:r>
              <a:rPr lang="de-DE" sz="2600" b="1" noProof="1">
                <a:solidFill>
                  <a:srgbClr val="003366"/>
                </a:solidFill>
                <a:latin typeface="Source Sans Pro" panose="020B0503030403020204" pitchFamily="34" charset="0"/>
              </a:rPr>
              <a:t>der Veranstaltung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1E67B766-5E15-EA80-DCDE-F9D9953E1840}"/>
              </a:ext>
            </a:extLst>
          </p:cNvPr>
          <p:cNvGrpSpPr/>
          <p:nvPr/>
        </p:nvGrpSpPr>
        <p:grpSpPr>
          <a:xfrm>
            <a:off x="2305735" y="3680470"/>
            <a:ext cx="696086" cy="696086"/>
            <a:chOff x="2255736" y="3549856"/>
            <a:chExt cx="900000" cy="900000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192CD833-5BEC-FE04-0084-FDCF93FF1C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736" y="3549856"/>
              <a:ext cx="900000" cy="900000"/>
            </a:xfrm>
            <a:prstGeom prst="rect">
              <a:avLst/>
            </a:prstGeom>
          </p:spPr>
        </p:pic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2D854AC1-B345-6BC7-71AE-7313857EDFC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463279" y="3707970"/>
              <a:ext cx="491352" cy="531818"/>
            </a:xfrm>
            <a:prstGeom prst="rect">
              <a:avLst/>
            </a:prstGeom>
          </p:spPr>
        </p:pic>
      </p:grpSp>
      <p:sp>
        <p:nvSpPr>
          <p:cNvPr id="8" name="Textplatzhalter 53">
            <a:extLst>
              <a:ext uri="{FF2B5EF4-FFF2-40B4-BE49-F238E27FC236}">
                <a16:creationId xmlns:a16="http://schemas.microsoft.com/office/drawing/2014/main" id="{F752C825-EECE-E14E-6E7E-4C68036228C6}"/>
              </a:ext>
            </a:extLst>
          </p:cNvPr>
          <p:cNvSpPr txBox="1">
            <a:spLocks/>
          </p:cNvSpPr>
          <p:nvPr/>
        </p:nvSpPr>
        <p:spPr>
          <a:xfrm>
            <a:off x="3113102" y="3686051"/>
            <a:ext cx="2031986" cy="69050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2000" b="1" kern="1200">
                <a:solidFill>
                  <a:srgbClr val="003366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20"/>
              </a:lnSpc>
            </a:pPr>
            <a:r>
              <a:rPr lang="de-DE" sz="1800" dirty="0"/>
              <a:t>9. November 2023</a:t>
            </a:r>
            <a:br>
              <a:rPr lang="de-DE" sz="1800" dirty="0"/>
            </a:br>
            <a:r>
              <a:rPr lang="de-DE" sz="1800" b="0" dirty="0"/>
              <a:t>9:30 – 14:00 Uhr</a:t>
            </a:r>
            <a:br>
              <a:rPr lang="de-DE" sz="1800" b="0" dirty="0"/>
            </a:br>
            <a:r>
              <a:rPr lang="de-DE" sz="1800" b="0" dirty="0"/>
              <a:t>in München</a:t>
            </a:r>
          </a:p>
        </p:txBody>
      </p:sp>
    </p:spTree>
    <p:extLst>
      <p:ext uri="{BB962C8B-B14F-4D97-AF65-F5344CB8AC3E}">
        <p14:creationId xmlns:p14="http://schemas.microsoft.com/office/powerpoint/2010/main" val="2705153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008B246-6DF1-6941-F2BA-06D959C009E6}"/>
              </a:ext>
            </a:extLst>
          </p:cNvPr>
          <p:cNvGrpSpPr/>
          <p:nvPr/>
        </p:nvGrpSpPr>
        <p:grpSpPr>
          <a:xfrm>
            <a:off x="2334908" y="4573703"/>
            <a:ext cx="2592958" cy="360000"/>
            <a:chOff x="2189908" y="4573703"/>
            <a:chExt cx="2592958" cy="360000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B836B90B-689A-246A-8D9D-E0406DBF382C}"/>
                </a:ext>
              </a:extLst>
            </p:cNvPr>
            <p:cNvSpPr/>
            <p:nvPr/>
          </p:nvSpPr>
          <p:spPr>
            <a:xfrm>
              <a:off x="2189908" y="4573703"/>
              <a:ext cx="2592958" cy="360000"/>
            </a:xfrm>
            <a:prstGeom prst="rect">
              <a:avLst/>
            </a:prstGeom>
            <a:solidFill>
              <a:srgbClr val="E40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815ABE0F-7053-C178-52CE-95F83DA9A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92778" y="4623151"/>
              <a:ext cx="216000" cy="244422"/>
            </a:xfrm>
            <a:prstGeom prst="rect">
              <a:avLst/>
            </a:prstGeom>
          </p:spPr>
        </p:pic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355AAA37-DA8D-EF4A-1E2A-B84734798FE0}"/>
              </a:ext>
            </a:extLst>
          </p:cNvPr>
          <p:cNvSpPr txBox="1"/>
          <p:nvPr/>
        </p:nvSpPr>
        <p:spPr>
          <a:xfrm>
            <a:off x="2762841" y="4622857"/>
            <a:ext cx="21191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ostenfrei anmelden</a:t>
            </a:r>
          </a:p>
        </p:txBody>
      </p:sp>
      <p:sp>
        <p:nvSpPr>
          <p:cNvPr id="6" name="Titelplatzhalter 18">
            <a:extLst>
              <a:ext uri="{FF2B5EF4-FFF2-40B4-BE49-F238E27FC236}">
                <a16:creationId xmlns:a16="http://schemas.microsoft.com/office/drawing/2014/main" id="{C7C61891-EBA6-2E28-5620-6833724AAE75}"/>
              </a:ext>
            </a:extLst>
          </p:cNvPr>
          <p:cNvSpPr txBox="1">
            <a:spLocks/>
          </p:cNvSpPr>
          <p:nvPr/>
        </p:nvSpPr>
        <p:spPr>
          <a:xfrm>
            <a:off x="297004" y="2827382"/>
            <a:ext cx="4713547" cy="773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820"/>
              </a:lnSpc>
            </a:pPr>
            <a:r>
              <a:rPr lang="de-DE" sz="2600" b="1" noProof="1">
                <a:solidFill>
                  <a:srgbClr val="003366"/>
                </a:solidFill>
                <a:latin typeface="Source Sans Pro" panose="020B0503030403020204" pitchFamily="34" charset="0"/>
              </a:rPr>
              <a:t>Hier steht der Titel der Veranstaltung wenn länger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98172FA-D66A-DFCD-22A5-06E98E9F26F1}"/>
              </a:ext>
            </a:extLst>
          </p:cNvPr>
          <p:cNvGrpSpPr/>
          <p:nvPr/>
        </p:nvGrpSpPr>
        <p:grpSpPr>
          <a:xfrm>
            <a:off x="2305735" y="3680470"/>
            <a:ext cx="696086" cy="696086"/>
            <a:chOff x="2255736" y="3549856"/>
            <a:chExt cx="900000" cy="900000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C8FFFCFF-86A1-1C90-37DE-0E3AB5914F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736" y="3549856"/>
              <a:ext cx="900000" cy="90000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F87E51F-E847-E654-2243-B5EE81E7F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463279" y="3707970"/>
              <a:ext cx="491352" cy="531818"/>
            </a:xfrm>
            <a:prstGeom prst="rect">
              <a:avLst/>
            </a:prstGeom>
          </p:spPr>
        </p:pic>
      </p:grpSp>
      <p:sp>
        <p:nvSpPr>
          <p:cNvPr id="10" name="Textplatzhalter 53">
            <a:extLst>
              <a:ext uri="{FF2B5EF4-FFF2-40B4-BE49-F238E27FC236}">
                <a16:creationId xmlns:a16="http://schemas.microsoft.com/office/drawing/2014/main" id="{DF41B3A0-64DF-5D9F-8C54-A6BD4A156023}"/>
              </a:ext>
            </a:extLst>
          </p:cNvPr>
          <p:cNvSpPr txBox="1">
            <a:spLocks/>
          </p:cNvSpPr>
          <p:nvPr/>
        </p:nvSpPr>
        <p:spPr>
          <a:xfrm>
            <a:off x="3113102" y="3686051"/>
            <a:ext cx="2031986" cy="69050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2000" b="1" kern="1200">
                <a:solidFill>
                  <a:srgbClr val="003366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20"/>
              </a:lnSpc>
            </a:pPr>
            <a:r>
              <a:rPr lang="de-DE" sz="1800" dirty="0"/>
              <a:t>9. November 2023</a:t>
            </a:r>
            <a:br>
              <a:rPr lang="de-DE" sz="1800" dirty="0"/>
            </a:br>
            <a:r>
              <a:rPr lang="de-DE" sz="1800" b="0" dirty="0"/>
              <a:t>9:30 – 14:00 Uhr</a:t>
            </a:r>
            <a:br>
              <a:rPr lang="de-DE" sz="1800" b="0" dirty="0"/>
            </a:br>
            <a:r>
              <a:rPr lang="de-DE" sz="1800" b="0" dirty="0"/>
              <a:t>in München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EFEC4B77-59AE-DC6D-AE96-F1483F99B7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458815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008B246-6DF1-6941-F2BA-06D959C009E6}"/>
              </a:ext>
            </a:extLst>
          </p:cNvPr>
          <p:cNvGrpSpPr/>
          <p:nvPr/>
        </p:nvGrpSpPr>
        <p:grpSpPr>
          <a:xfrm>
            <a:off x="2334908" y="4573703"/>
            <a:ext cx="2592958" cy="360000"/>
            <a:chOff x="2189908" y="4573703"/>
            <a:chExt cx="2592958" cy="360000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B836B90B-689A-246A-8D9D-E0406DBF382C}"/>
                </a:ext>
              </a:extLst>
            </p:cNvPr>
            <p:cNvSpPr/>
            <p:nvPr/>
          </p:nvSpPr>
          <p:spPr>
            <a:xfrm>
              <a:off x="2189908" y="4573703"/>
              <a:ext cx="2592958" cy="360000"/>
            </a:xfrm>
            <a:prstGeom prst="rect">
              <a:avLst/>
            </a:prstGeom>
            <a:solidFill>
              <a:srgbClr val="E40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815ABE0F-7053-C178-52CE-95F83DA9A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92778" y="4623151"/>
              <a:ext cx="216000" cy="244422"/>
            </a:xfrm>
            <a:prstGeom prst="rect">
              <a:avLst/>
            </a:prstGeom>
          </p:spPr>
        </p:pic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355AAA37-DA8D-EF4A-1E2A-B84734798FE0}"/>
              </a:ext>
            </a:extLst>
          </p:cNvPr>
          <p:cNvSpPr txBox="1"/>
          <p:nvPr/>
        </p:nvSpPr>
        <p:spPr>
          <a:xfrm>
            <a:off x="2762841" y="4622857"/>
            <a:ext cx="21191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ostenfrei anmelden</a:t>
            </a:r>
          </a:p>
        </p:txBody>
      </p:sp>
      <p:sp>
        <p:nvSpPr>
          <p:cNvPr id="6" name="Titelplatzhalter 18">
            <a:extLst>
              <a:ext uri="{FF2B5EF4-FFF2-40B4-BE49-F238E27FC236}">
                <a16:creationId xmlns:a16="http://schemas.microsoft.com/office/drawing/2014/main" id="{C7C61891-EBA6-2E28-5620-6833724AAE75}"/>
              </a:ext>
            </a:extLst>
          </p:cNvPr>
          <p:cNvSpPr txBox="1">
            <a:spLocks/>
          </p:cNvSpPr>
          <p:nvPr/>
        </p:nvSpPr>
        <p:spPr>
          <a:xfrm>
            <a:off x="297004" y="2827382"/>
            <a:ext cx="4713547" cy="773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820"/>
              </a:lnSpc>
            </a:pPr>
            <a:r>
              <a:rPr lang="de-DE" sz="2600" b="1" noProof="1">
                <a:solidFill>
                  <a:srgbClr val="003366"/>
                </a:solidFill>
                <a:latin typeface="Source Sans Pro" panose="020B0503030403020204" pitchFamily="34" charset="0"/>
              </a:rPr>
              <a:t>Hier steht der Titel der Veranstaltung wenn länger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98172FA-D66A-DFCD-22A5-06E98E9F26F1}"/>
              </a:ext>
            </a:extLst>
          </p:cNvPr>
          <p:cNvGrpSpPr/>
          <p:nvPr/>
        </p:nvGrpSpPr>
        <p:grpSpPr>
          <a:xfrm>
            <a:off x="297004" y="3680470"/>
            <a:ext cx="547593" cy="547593"/>
            <a:chOff x="2255736" y="3549856"/>
            <a:chExt cx="900000" cy="900000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C8FFFCFF-86A1-1C90-37DE-0E3AB5914F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736" y="3549856"/>
              <a:ext cx="900000" cy="90000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F87E51F-E847-E654-2243-B5EE81E7F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463279" y="3707970"/>
              <a:ext cx="491352" cy="531818"/>
            </a:xfrm>
            <a:prstGeom prst="rect">
              <a:avLst/>
            </a:prstGeom>
          </p:spPr>
        </p:pic>
      </p:grpSp>
      <p:sp>
        <p:nvSpPr>
          <p:cNvPr id="10" name="Textplatzhalter 53">
            <a:extLst>
              <a:ext uri="{FF2B5EF4-FFF2-40B4-BE49-F238E27FC236}">
                <a16:creationId xmlns:a16="http://schemas.microsoft.com/office/drawing/2014/main" id="{DF41B3A0-64DF-5D9F-8C54-A6BD4A156023}"/>
              </a:ext>
            </a:extLst>
          </p:cNvPr>
          <p:cNvSpPr txBox="1">
            <a:spLocks/>
          </p:cNvSpPr>
          <p:nvPr/>
        </p:nvSpPr>
        <p:spPr>
          <a:xfrm>
            <a:off x="970874" y="3736098"/>
            <a:ext cx="3925888" cy="40472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2000" b="1" kern="1200">
                <a:solidFill>
                  <a:srgbClr val="003366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20"/>
              </a:lnSpc>
            </a:pPr>
            <a:r>
              <a:rPr lang="de-DE" sz="1800" dirty="0"/>
              <a:t>9. November 2023</a:t>
            </a:r>
            <a:br>
              <a:rPr lang="de-DE" sz="1800" dirty="0"/>
            </a:br>
            <a:r>
              <a:rPr lang="de-DE" sz="1800" b="0" dirty="0"/>
              <a:t>9:30 – 14:00 Uhr in München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A66E1EEB-9CC7-03C4-5964-2AA6034DFD9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2407511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ZroOkhcWrdmzHqHrIk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heme/theme1.xml><?xml version="1.0" encoding="utf-8"?>
<a:theme xmlns:a="http://schemas.openxmlformats.org/drawingml/2006/main" name="IHK_Master_2020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B3B2B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Titan 100%">
      <a:srgbClr val="575756"/>
    </a:custClr>
    <a:custClr name="Titan 80%">
      <a:srgbClr val="797978"/>
    </a:custClr>
    <a:custClr name="Titan 70%">
      <a:srgbClr val="8A8A89"/>
    </a:custClr>
    <a:custClr name="Titan 60%">
      <a:srgbClr val="9A9A9A"/>
    </a:custClr>
    <a:custClr name="Titan 50%">
      <a:srgbClr val="ABABAA"/>
    </a:custClr>
    <a:custClr name="Titan 40%">
      <a:srgbClr val="BCBCBB"/>
    </a:custClr>
    <a:custClr name="Titan 30%">
      <a:srgbClr val="CCCCCC"/>
    </a:custClr>
    <a:custClr name="Titan 20%">
      <a:srgbClr val="DDDDDD"/>
    </a:custClr>
    <a:custClr name="Titan 10%">
      <a:srgbClr val="EEEEEE"/>
    </a:custClr>
    <a:custClr name="White">
      <a:srgbClr val="FFFFFF"/>
    </a:custClr>
    <a:custClr name="Sky 100%">
      <a:srgbClr val="009ED4"/>
    </a:custClr>
    <a:custClr name="Sky 80%">
      <a:srgbClr val="33B1DD"/>
    </a:custClr>
    <a:custClr name="Sky 70%">
      <a:srgbClr val="4DBBE1"/>
    </a:custClr>
    <a:custClr name="Sky 60%">
      <a:srgbClr val="66C5E5"/>
    </a:custClr>
    <a:custClr name="Sky 50%">
      <a:srgbClr val="7FCEE9"/>
    </a:custClr>
    <a:custClr name="Sky 40%">
      <a:srgbClr val="99D8EE"/>
    </a:custClr>
    <a:custClr name="Sky 30%">
      <a:srgbClr val="B2E2F2"/>
    </a:custClr>
    <a:custClr name="Sky 20%">
      <a:srgbClr val="CCECF6"/>
    </a:custClr>
    <a:custClr name="Sky 10%">
      <a:srgbClr val="E5F5FB"/>
    </a:custClr>
    <a:custClr name="White">
      <a:srgbClr val="FFFFFF"/>
    </a:custClr>
    <a:custClr name="Ocean">
      <a:srgbClr val="003366"/>
    </a:custClr>
    <a:custClr name="Lime">
      <a:srgbClr val="76B82A"/>
    </a:custClr>
    <a:custClr name="Hibiskus">
      <a:srgbClr val="E40D2E"/>
    </a:custClr>
    <a:custClr name="Mauve">
      <a:srgbClr val="9F5098"/>
    </a:custClr>
    <a:custClr name="Mandarin">
      <a:srgbClr val="F0821A"/>
    </a:custClr>
    <a:custClr name="Sun">
      <a:srgbClr val="FFCE00"/>
    </a:custClr>
    <a:custClr name="Stone">
      <a:srgbClr val="B1B3B4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IHK_PPT-Template" id="{787B45A7-4684-4B2A-BE69-B785DDA374B8}" vid="{613B815C-7FA6-4395-AC25-FA10C12BB2AF}"/>
    </a:ext>
  </a:extLst>
</a:theme>
</file>

<file path=ppt/theme/theme2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37D5C4606E6754A85FF17C944E6CC99" ma:contentTypeVersion="16" ma:contentTypeDescription="Ein neues Dokument erstellen." ma:contentTypeScope="" ma:versionID="5563f78337bf7cd61a32d8860f100b3f">
  <xsd:schema xmlns:xsd="http://www.w3.org/2001/XMLSchema" xmlns:xs="http://www.w3.org/2001/XMLSchema" xmlns:p="http://schemas.microsoft.com/office/2006/metadata/properties" xmlns:ns1="http://schemas.microsoft.com/sharepoint/v3" xmlns:ns2="a04dc6fb-b7f1-4703-aa16-3aaf5a84df0f" xmlns:ns3="7055c22d-a8fe-4eff-a0e9-a5abd381db3c" targetNamespace="http://schemas.microsoft.com/office/2006/metadata/properties" ma:root="true" ma:fieldsID="94cf8e97cda412b509e24b9dadc9ef34" ns1:_="" ns2:_="" ns3:_="">
    <xsd:import namespace="http://schemas.microsoft.com/sharepoint/v3"/>
    <xsd:import namespace="a04dc6fb-b7f1-4703-aa16-3aaf5a84df0f"/>
    <xsd:import namespace="7055c22d-a8fe-4eff-a0e9-a5abd381d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4dc6fb-b7f1-4703-aa16-3aaf5a84df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5451bee-5533-49a1-8dd5-f30616748e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55c22d-a8fe-4eff-a0e9-a5abd381db3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80c1e279-5997-4643-bdcd-d4c146cb2c49}" ma:internalName="TaxCatchAll" ma:showField="CatchAllData" ma:web="7055c22d-a8fe-4eff-a0e9-a5abd381db3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a04dc6fb-b7f1-4703-aa16-3aaf5a84df0f">
      <Terms xmlns="http://schemas.microsoft.com/office/infopath/2007/PartnerControls"/>
    </lcf76f155ced4ddcb4097134ff3c332f>
    <TaxCatchAll xmlns="7055c22d-a8fe-4eff-a0e9-a5abd381db3c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B774381-AEA7-4FD9-84EB-F93815E1FA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04dc6fb-b7f1-4703-aa16-3aaf5a84df0f"/>
    <ds:schemaRef ds:uri="7055c22d-a8fe-4eff-a0e9-a5abd381db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2FDE106-28A8-4203-B56A-A4678B13014D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a04dc6fb-b7f1-4703-aa16-3aaf5a84df0f"/>
    <ds:schemaRef ds:uri="7055c22d-a8fe-4eff-a0e9-a5abd381db3c"/>
  </ds:schemaRefs>
</ds:datastoreItem>
</file>

<file path=customXml/itemProps3.xml><?xml version="1.0" encoding="utf-8"?>
<ds:datastoreItem xmlns:ds="http://schemas.openxmlformats.org/officeDocument/2006/customXml" ds:itemID="{6C14FAC3-3CCD-46FD-9E3A-22D1E17437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HK_PPT-Template</Template>
  <TotalTime>0</TotalTime>
  <Words>64</Words>
  <Application>Microsoft Macintosh PowerPoint</Application>
  <PresentationFormat>Benutzerdefiniert</PresentationFormat>
  <Paragraphs>9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Source Sans Pro</vt:lpstr>
      <vt:lpstr>Wingdings</vt:lpstr>
      <vt:lpstr>IHK_Master_2020</vt:lpstr>
      <vt:lpstr>think-cell Folie</vt:lpstr>
      <vt:lpstr>PowerPoint-Präsentation</vt:lpstr>
      <vt:lpstr>PowerPoint-Präsentation</vt:lpstr>
      <vt:lpstr>PowerPoint-Präsentation</vt:lpstr>
    </vt:vector>
  </TitlesOfParts>
  <Company>IHK München und Oberbayer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usanne Kunzelmann</dc:creator>
  <cp:lastModifiedBy>Melanie Baldin</cp:lastModifiedBy>
  <cp:revision>7</cp:revision>
  <cp:lastPrinted>2020-07-13T13:33:26Z</cp:lastPrinted>
  <dcterms:created xsi:type="dcterms:W3CDTF">2023-09-29T12:27:15Z</dcterms:created>
  <dcterms:modified xsi:type="dcterms:W3CDTF">2023-10-26T11:1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7D5C4606E6754A85FF17C944E6CC99</vt:lpwstr>
  </property>
  <property fmtid="{D5CDD505-2E9C-101B-9397-08002B2CF9AE}" pid="3" name="MediaServiceImageTags">
    <vt:lpwstr/>
  </property>
</Properties>
</file>